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6"/>
  </p:notesMasterIdLst>
  <p:sldIdLst>
    <p:sldId id="257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E04CDA-CE1D-4EE5-ABC7-5F1D9236014F}" v="5" dt="2021-08-04T09:28:22.804"/>
    <p1510:client id="{41CF131B-DEF3-440E-8A87-EE8CA53842DD}" v="97" dt="2021-08-03T18:07:50.400"/>
    <p1510:client id="{E2777EE2-EF2B-4F47-B18C-C07421153941}" v="87" vWet="89" dt="2021-08-03T12:01:19.982"/>
    <p1510:client id="{FC84A6F0-276A-47EB-BA83-BC2BE7464A12}" v="5" dt="2021-08-03T17:57:15.6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149" y="1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A23B9E-CEF5-4742-9B6B-BB62FA064CE0}" type="datetimeFigureOut">
              <a:rPr lang="en-GB" smtClean="0"/>
              <a:t>26/11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113E6C-DBD2-4C12-B675-199844A130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321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13E6C-DBD2-4C12-B675-199844A130F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2167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 lay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8EC8FA81-5A2F-4BDA-8785-B8738E3BA86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7054" y="6089467"/>
            <a:ext cx="1974751" cy="51154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Insert logo here</a:t>
            </a:r>
          </a:p>
          <a:p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6611C07-22B2-4842-9302-626A0B47F76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09406" y="6089467"/>
            <a:ext cx="1974751" cy="51154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Insert logo here</a:t>
            </a:r>
          </a:p>
          <a:p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063E87A-7B5E-4CD0-8652-2AAC740E2E2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08623" y="6089467"/>
            <a:ext cx="1974751" cy="51154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Insert logo here</a:t>
            </a:r>
          </a:p>
          <a:p>
            <a:endParaRPr lang="en-GB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8CEA881F-8091-44FC-A79E-C88FB2A5117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87671" y="6089467"/>
            <a:ext cx="1974751" cy="51154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Insert logo here</a:t>
            </a:r>
          </a:p>
          <a:p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ECEB203-7248-4EB3-980A-76557D56F4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686887" y="6089467"/>
            <a:ext cx="1974751" cy="51154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Insert logo here</a:t>
            </a:r>
          </a:p>
          <a:p>
            <a:endParaRPr lang="en-GB"/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7DA8E2AF-908D-4A9F-9142-8E93AB2724A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5919537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algn="ctr">
              <a:lnSpc>
                <a:spcPct val="2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3152866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7CC8396-24DF-4D4A-ABBD-DB21F74CA9DB}"/>
              </a:ext>
            </a:extLst>
          </p:cNvPr>
          <p:cNvSpPr/>
          <p:nvPr userDrawn="1"/>
        </p:nvSpPr>
        <p:spPr>
          <a:xfrm>
            <a:off x="527051" y="2423037"/>
            <a:ext cx="4092640" cy="940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kumimoji="0" lang="en-US" sz="6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ank you</a:t>
            </a:r>
            <a:endParaRPr lang="en-GB" sz="6600">
              <a:solidFill>
                <a:schemeClr val="accent1"/>
              </a:solidFill>
            </a:endParaRP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1FA8B541-9BFD-45D6-A78F-ABFDF22F045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7054" y="5662246"/>
            <a:ext cx="1974751" cy="66394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 sz="800">
                <a:solidFill>
                  <a:srgbClr val="222C57"/>
                </a:solidFill>
              </a:defRPr>
            </a:lvl1pPr>
          </a:lstStyle>
          <a:p>
            <a:pPr marL="0" marR="0" lvl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Insert logo here</a:t>
            </a:r>
          </a:p>
          <a:p>
            <a:endParaRPr lang="en-GB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84CA041A-847E-4F87-8ED5-A2EC3A579C1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09406" y="5662246"/>
            <a:ext cx="1974751" cy="66394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 lang="en-US" sz="800" kern="1200" dirty="0">
                <a:solidFill>
                  <a:srgbClr val="222C57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Insert logo here</a:t>
            </a:r>
          </a:p>
          <a:p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D8FF119-E40A-4507-B9B9-EC1EA2E0E01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08623" y="5662246"/>
            <a:ext cx="1974751" cy="66394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 lang="en-US" sz="800" kern="1200" dirty="0">
                <a:solidFill>
                  <a:srgbClr val="222C57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Insert logo here</a:t>
            </a:r>
          </a:p>
          <a:p>
            <a:endParaRPr lang="en-GB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D1242FE-4DD9-461F-B8FC-9E1D03B3E2C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87671" y="5662246"/>
            <a:ext cx="1974751" cy="66394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 lang="en-US" sz="800" kern="1200" dirty="0">
                <a:solidFill>
                  <a:srgbClr val="222C57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Insert logo here</a:t>
            </a:r>
          </a:p>
          <a:p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EEB8387-2B20-4563-BC20-774568E04E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686887" y="5662246"/>
            <a:ext cx="1974751" cy="66394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 lang="en-US" sz="800" kern="1200" dirty="0">
                <a:solidFill>
                  <a:srgbClr val="222C57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17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/>
              <a:t>Insert logo here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83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211667" cy="19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90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CB876BB-50C9-4204-8989-60EF7EF23250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35361" y="6350400"/>
            <a:ext cx="11521280" cy="216000"/>
          </a:xfrm>
        </p:spPr>
        <p:txBody>
          <a:bodyPr>
            <a:noAutofit/>
          </a:bodyPr>
          <a:lstStyle>
            <a:lvl1pPr marL="0" indent="0">
              <a:buNone/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Sources: 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35361" y="6091200"/>
            <a:ext cx="11521280" cy="216000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Notes: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8261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Unbenannt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82" y="0"/>
            <a:ext cx="1218723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3795883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4BF12C-5C7A-4DB0-B628-D10334561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style – 1 line only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01773E0-D94B-4444-9A72-81C1F4EB93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7049" y="1073339"/>
            <a:ext cx="11137899" cy="290855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tx2"/>
                </a:solidFill>
              </a:defRPr>
            </a:lvl1pPr>
            <a:lvl2pPr marL="609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subtitle – 1 line only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06CD7D-1E83-40B8-AB93-138141549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8836"/>
            <a:fld id="{2490C926-4C7A-4456-B603-8FB00524CD8E}" type="slidenum">
              <a:rPr lang="en-GB" smtClean="0">
                <a:solidFill>
                  <a:prstClr val="black"/>
                </a:solidFill>
              </a:rPr>
              <a:pPr defTabSz="1218836"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74144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B5531-87F2-4E35-BFED-8D4119CE6E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68A7D9-338E-4D2A-A81A-E51E13C363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111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E13ED7-C4F9-49F0-A737-B6EA9D0F7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25500B-8530-4F81-A3B6-C9DEAE329D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5310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2653AA-80E5-4B3A-806A-549A95993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4953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8656D-5D8E-4971-B787-30C437FC1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315374-3206-4515-B74A-F482A6B433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330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8656D-5D8E-4971-B787-30C437FC1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911" y="518218"/>
            <a:ext cx="11149151" cy="65080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EB6C96D-E54B-4E71-99D6-8C1BB99755D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6911" y="1307432"/>
            <a:ext cx="3398607" cy="5037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2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22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800">
                <a:solidFill>
                  <a:schemeClr val="tx1"/>
                </a:solidFill>
              </a:defRPr>
            </a:lvl3pPr>
            <a:lvl4pPr marL="285750" indent="-2857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6pPr>
            <a:lvl7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7pPr>
            <a:lvl8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8pPr>
            <a:lvl9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Insert session date here</a:t>
            </a:r>
          </a:p>
          <a:p>
            <a:pPr lvl="1"/>
            <a:r>
              <a:rPr lang="en-US"/>
              <a:t>Insert session time here</a:t>
            </a:r>
          </a:p>
          <a:p>
            <a:pPr lvl="2"/>
            <a:r>
              <a:rPr lang="en-US"/>
              <a:t>Insert body copy here</a:t>
            </a:r>
          </a:p>
          <a:p>
            <a:pPr lvl="3"/>
            <a:r>
              <a:rPr lang="en-US"/>
              <a:t>Insert bullet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0B47DF6-59D1-4177-9093-C5556334363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396696" y="1307432"/>
            <a:ext cx="3398607" cy="5037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2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22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800">
                <a:solidFill>
                  <a:schemeClr val="tx1"/>
                </a:solidFill>
              </a:defRPr>
            </a:lvl3pPr>
            <a:lvl4pPr marL="285750" indent="-2857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6pPr>
            <a:lvl7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7pPr>
            <a:lvl8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8pPr>
            <a:lvl9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Insert session date here</a:t>
            </a:r>
          </a:p>
          <a:p>
            <a:pPr lvl="1"/>
            <a:r>
              <a:rPr lang="en-US"/>
              <a:t>Insert session time here</a:t>
            </a:r>
          </a:p>
          <a:p>
            <a:pPr lvl="2"/>
            <a:r>
              <a:rPr lang="en-US"/>
              <a:t>Insert body copy here</a:t>
            </a:r>
          </a:p>
          <a:p>
            <a:pPr lvl="3"/>
            <a:r>
              <a:rPr lang="en-US"/>
              <a:t>Insert bullet here</a:t>
            </a:r>
          </a:p>
        </p:txBody>
      </p:sp>
    </p:spTree>
    <p:extLst>
      <p:ext uri="{BB962C8B-B14F-4D97-AF65-F5344CB8AC3E}">
        <p14:creationId xmlns:p14="http://schemas.microsoft.com/office/powerpoint/2010/main" val="239482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uiExpand="1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8656D-5D8E-4971-B787-30C437FC1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911" y="518218"/>
            <a:ext cx="11149151" cy="65080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C356441-685C-414A-B91E-96E4BA1C2A5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6911" y="1307432"/>
            <a:ext cx="3398607" cy="5037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2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22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800">
                <a:solidFill>
                  <a:schemeClr val="tx1"/>
                </a:solidFill>
              </a:defRPr>
            </a:lvl3pPr>
            <a:lvl4pPr marL="285750" indent="-2857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6pPr>
            <a:lvl7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7pPr>
            <a:lvl8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8pPr>
            <a:lvl9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Insert session date here</a:t>
            </a:r>
          </a:p>
          <a:p>
            <a:pPr lvl="1"/>
            <a:r>
              <a:rPr lang="en-US"/>
              <a:t>Insert session time here</a:t>
            </a:r>
          </a:p>
          <a:p>
            <a:pPr lvl="2"/>
            <a:r>
              <a:rPr lang="en-US"/>
              <a:t>Insert body copy here</a:t>
            </a:r>
          </a:p>
          <a:p>
            <a:pPr lvl="3"/>
            <a:r>
              <a:rPr lang="en-US"/>
              <a:t>Insert bullet he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4975496-24F8-48F2-9E95-554FFD31461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96696" y="1307432"/>
            <a:ext cx="3398607" cy="5037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2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22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800">
                <a:solidFill>
                  <a:schemeClr val="tx1"/>
                </a:solidFill>
              </a:defRPr>
            </a:lvl3pPr>
            <a:lvl4pPr marL="285750" indent="-2857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6pPr>
            <a:lvl7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7pPr>
            <a:lvl8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8pPr>
            <a:lvl9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Insert session date here</a:t>
            </a:r>
          </a:p>
          <a:p>
            <a:pPr lvl="1"/>
            <a:r>
              <a:rPr lang="en-US"/>
              <a:t>Insert session time here</a:t>
            </a:r>
          </a:p>
          <a:p>
            <a:pPr lvl="2"/>
            <a:r>
              <a:rPr lang="en-US"/>
              <a:t>Insert body copy here</a:t>
            </a:r>
          </a:p>
          <a:p>
            <a:pPr lvl="3"/>
            <a:r>
              <a:rPr lang="en-US"/>
              <a:t>Insert bullet her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4358352-2B68-49D1-9E6F-812531E3D53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77456" y="1307432"/>
            <a:ext cx="3398607" cy="5037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2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2200">
                <a:solidFill>
                  <a:schemeClr val="accent3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800">
                <a:solidFill>
                  <a:schemeClr val="tx1"/>
                </a:solidFill>
              </a:defRPr>
            </a:lvl3pPr>
            <a:lvl4pPr marL="285750" indent="-2857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6pPr>
            <a:lvl7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7pPr>
            <a:lvl8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8pPr>
            <a:lvl9pPr marL="625475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Insert session date here</a:t>
            </a:r>
          </a:p>
          <a:p>
            <a:pPr lvl="1"/>
            <a:r>
              <a:rPr lang="en-US"/>
              <a:t>Insert session time here</a:t>
            </a:r>
          </a:p>
          <a:p>
            <a:pPr lvl="2"/>
            <a:r>
              <a:rPr lang="en-US"/>
              <a:t>Insert body copy here</a:t>
            </a:r>
          </a:p>
          <a:p>
            <a:pPr lvl="3"/>
            <a:r>
              <a:rPr lang="en-US"/>
              <a:t>Insert bullet here</a:t>
            </a:r>
          </a:p>
        </p:txBody>
      </p:sp>
    </p:spTree>
    <p:extLst>
      <p:ext uri="{BB962C8B-B14F-4D97-AF65-F5344CB8AC3E}">
        <p14:creationId xmlns:p14="http://schemas.microsoft.com/office/powerpoint/2010/main" val="3644501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uiExpand="1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uiExpand="1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Bor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2511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E48C291-5D79-4876-9967-A72F757214F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7352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2865C5-0B2B-43D8-BE4C-E98A191A0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911" y="518218"/>
            <a:ext cx="11149151" cy="65080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92C85F-804D-4FD0-8932-FCF6E4B1DF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6911" y="1700214"/>
            <a:ext cx="11149151" cy="46450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CA600-0263-45CD-A82E-9198CE44E3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609"/>
          <a:stretch/>
        </p:blipFill>
        <p:spPr>
          <a:xfrm>
            <a:off x="-1" y="6740666"/>
            <a:ext cx="12192000" cy="117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122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  <p:sldLayoutId id="214748367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355">
          <p15:clr>
            <a:srgbClr val="F26B43"/>
          </p15:clr>
        </p15:guide>
        <p15:guide id="4" pos="325">
          <p15:clr>
            <a:srgbClr val="F26B43"/>
          </p15:clr>
        </p15:guide>
        <p15:guide id="5" orient="horz" pos="3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9" orient="horz" pos="3997">
          <p15:clr>
            <a:srgbClr val="F26B43"/>
          </p15:clr>
        </p15:guide>
        <p15:guide id="10" orient="horz" pos="7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jp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11.png"/><Relationship Id="rId5" Type="http://schemas.openxmlformats.org/officeDocument/2006/relationships/image" Target="../media/image6.png"/><Relationship Id="rId10" Type="http://schemas.microsoft.com/office/2007/relationships/hdphoto" Target="../media/hdphoto1.wdp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text, grass, windmill, outdoor object&#10;&#10;Description automatically generated">
            <a:extLst>
              <a:ext uri="{FF2B5EF4-FFF2-40B4-BE49-F238E27FC236}">
                <a16:creationId xmlns:a16="http://schemas.microsoft.com/office/drawing/2014/main" id="{843C9D4D-B5D9-41F6-9344-0F60EEDED27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13184" b="13184"/>
          <a:stretch>
            <a:fillRect/>
          </a:stretch>
        </p:blipFill>
        <p:spPr>
          <a:xfrm>
            <a:off x="0" y="-31193"/>
            <a:ext cx="12192000" cy="5919537"/>
          </a:xfrm>
        </p:spPr>
      </p:pic>
      <p:pic>
        <p:nvPicPr>
          <p:cNvPr id="60" name="Picture Placeholder 59">
            <a:extLst>
              <a:ext uri="{FF2B5EF4-FFF2-40B4-BE49-F238E27FC236}">
                <a16:creationId xmlns:a16="http://schemas.microsoft.com/office/drawing/2014/main" id="{9B4880F4-840F-4689-87B7-354C3059C0B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/>
          <a:srcRect t="80" b="80"/>
          <a:stretch>
            <a:fillRect/>
          </a:stretch>
        </p:blipFill>
        <p:spPr/>
      </p:pic>
      <p:pic>
        <p:nvPicPr>
          <p:cNvPr id="61" name="Picture Placeholder 60">
            <a:extLst>
              <a:ext uri="{FF2B5EF4-FFF2-40B4-BE49-F238E27FC236}">
                <a16:creationId xmlns:a16="http://schemas.microsoft.com/office/drawing/2014/main" id="{8930BD38-1C95-4D2C-A96E-11E7FD0B0F0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/>
          <a:srcRect t="80" b="80"/>
          <a:stretch>
            <a:fillRect/>
          </a:stretch>
        </p:blipFill>
        <p:spPr/>
      </p:pic>
      <p:pic>
        <p:nvPicPr>
          <p:cNvPr id="62" name="Picture Placeholder 61">
            <a:extLst>
              <a:ext uri="{FF2B5EF4-FFF2-40B4-BE49-F238E27FC236}">
                <a16:creationId xmlns:a16="http://schemas.microsoft.com/office/drawing/2014/main" id="{BF7CDAC5-67A4-451A-A609-3B2F4BFC6E4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/>
          <a:srcRect t="80" b="80"/>
          <a:stretch>
            <a:fillRect/>
          </a:stretch>
        </p:blipFill>
        <p:spPr/>
      </p:pic>
      <p:pic>
        <p:nvPicPr>
          <p:cNvPr id="63" name="Picture Placeholder 62">
            <a:extLst>
              <a:ext uri="{FF2B5EF4-FFF2-40B4-BE49-F238E27FC236}">
                <a16:creationId xmlns:a16="http://schemas.microsoft.com/office/drawing/2014/main" id="{AE40E03F-1391-41E8-9916-986EC81A7D46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/>
          <a:srcRect t="80" b="80"/>
          <a:stretch>
            <a:fillRect/>
          </a:stretch>
        </p:blipFill>
        <p:spPr/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1301AFE-599F-4D06-8885-CA2FCCA510AF}"/>
              </a:ext>
            </a:extLst>
          </p:cNvPr>
          <p:cNvSpPr txBox="1"/>
          <p:nvPr/>
        </p:nvSpPr>
        <p:spPr>
          <a:xfrm>
            <a:off x="-377778" y="153633"/>
            <a:ext cx="7975080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00" dirty="0">
                <a:solidFill>
                  <a:srgbClr val="222C57"/>
                </a:solidFill>
                <a:latin typeface="Arial" panose="020B0604020202020204"/>
              </a:rPr>
              <a:t>Kenya Carbon Emissions Reduction Tool  2050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5E3E79A-2F4A-423A-8A88-2A4F5DFE2C87}"/>
              </a:ext>
            </a:extLst>
          </p:cNvPr>
          <p:cNvSpPr/>
          <p:nvPr/>
        </p:nvSpPr>
        <p:spPr>
          <a:xfrm>
            <a:off x="8877250" y="243072"/>
            <a:ext cx="1619274" cy="2227634"/>
          </a:xfrm>
          <a:prstGeom prst="rect">
            <a:avLst/>
          </a:prstGeom>
          <a:solidFill>
            <a:schemeClr val="bg2"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Placeholder 58">
            <a:extLst>
              <a:ext uri="{FF2B5EF4-FFF2-40B4-BE49-F238E27FC236}">
                <a16:creationId xmlns:a16="http://schemas.microsoft.com/office/drawing/2014/main" id="{A8A996F2-2EFD-4425-9AC1-3AE587E8C76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80" b="80"/>
          <a:stretch>
            <a:fillRect/>
          </a:stretch>
        </p:blipFill>
        <p:spPr>
          <a:xfrm>
            <a:off x="8990131" y="1644552"/>
            <a:ext cx="1739491" cy="51154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380CA501-0DEE-4364-B0C4-0B5FA96C99D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515867" y="89611"/>
            <a:ext cx="1739491" cy="127188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445D484-B582-4CBB-94EF-C37E1BF3D3E8}"/>
              </a:ext>
            </a:extLst>
          </p:cNvPr>
          <p:cNvSpPr txBox="1"/>
          <p:nvPr/>
        </p:nvSpPr>
        <p:spPr>
          <a:xfrm>
            <a:off x="8834714" y="1141117"/>
            <a:ext cx="16192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Ministry of Energy </a:t>
            </a:r>
          </a:p>
        </p:txBody>
      </p:sp>
      <p:pic>
        <p:nvPicPr>
          <p:cNvPr id="17" name="Picture Placeholder 16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2FFC16A2-193C-4B7F-BBC9-7A65104D9B9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11"/>
          <a:srcRect t="21064" b="2106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17753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50 Calculator template">
  <a:themeElements>
    <a:clrScheme name="2050 Calculator">
      <a:dk1>
        <a:srgbClr val="000000"/>
      </a:dk1>
      <a:lt1>
        <a:srgbClr val="FFFFFF"/>
      </a:lt1>
      <a:dk2>
        <a:srgbClr val="575656"/>
      </a:dk2>
      <a:lt2>
        <a:srgbClr val="EDEBE6"/>
      </a:lt2>
      <a:accent1>
        <a:srgbClr val="001E62"/>
      </a:accent1>
      <a:accent2>
        <a:srgbClr val="6678A1"/>
      </a:accent2>
      <a:accent3>
        <a:srgbClr val="DB4134"/>
      </a:accent3>
      <a:accent4>
        <a:srgbClr val="E98D85"/>
      </a:accent4>
      <a:accent5>
        <a:srgbClr val="1E22AA"/>
      </a:accent5>
      <a:accent6>
        <a:srgbClr val="787ACC"/>
      </a:accent6>
      <a:hlink>
        <a:srgbClr val="216B99"/>
      </a:hlink>
      <a:folHlink>
        <a:srgbClr val="2B86C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224C3735-03C3-B540-A5D8-5AA29DF7E143}" vid="{6470A355-CFEB-AA46-A6BC-BDAB4B1BE9F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623269115D2544B8B0729B7DF87E78" ma:contentTypeVersion="13" ma:contentTypeDescription="Create a new document." ma:contentTypeScope="" ma:versionID="0a32445c8f0f2894b5fcd70227dc3082">
  <xsd:schema xmlns:xsd="http://www.w3.org/2001/XMLSchema" xmlns:xs="http://www.w3.org/2001/XMLSchema" xmlns:p="http://schemas.microsoft.com/office/2006/metadata/properties" xmlns:ns3="b07618a9-bc67-41b9-bbb8-9c1c8f2629fe" xmlns:ns4="6fb30fbd-710e-460a-9e41-093fde13fc30" targetNamespace="http://schemas.microsoft.com/office/2006/metadata/properties" ma:root="true" ma:fieldsID="ea98f55e1168bf91771c5e4747d36b01" ns3:_="" ns4:_="">
    <xsd:import namespace="b07618a9-bc67-41b9-bbb8-9c1c8f2629fe"/>
    <xsd:import namespace="6fb30fbd-710e-460a-9e41-093fde13fc3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618a9-bc67-41b9-bbb8-9c1c8f2629f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b30fbd-710e-460a-9e41-093fde13fc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6A3944E-EE47-4877-B7A4-A239DBCE786E}">
  <ds:schemaRefs>
    <ds:schemaRef ds:uri="6fb30fbd-710e-460a-9e41-093fde13fc30"/>
    <ds:schemaRef ds:uri="b07618a9-bc67-41b9-bbb8-9c1c8f2629f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67833EE-46D4-4DAE-A7C4-49A7AA99F4F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C1A49C1-3A39-44EB-AF81-E995FE70D69B}">
  <ds:schemaRefs>
    <ds:schemaRef ds:uri="6fb30fbd-710e-460a-9e41-093fde13fc30"/>
    <ds:schemaRef ds:uri="b07618a9-bc67-41b9-bbb8-9c1c8f2629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5</TotalTime>
  <Words>10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2050 Calculator templat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kpanit, Paisan</dc:creator>
  <cp:lastModifiedBy>Alvin Igobwa</cp:lastModifiedBy>
  <cp:revision>2</cp:revision>
  <dcterms:created xsi:type="dcterms:W3CDTF">2020-10-31T15:51:47Z</dcterms:created>
  <dcterms:modified xsi:type="dcterms:W3CDTF">2021-11-26T02:0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623269115D2544B8B0729B7DF87E78</vt:lpwstr>
  </property>
</Properties>
</file>